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95" r:id="rId6"/>
    <p:sldId id="318" r:id="rId7"/>
    <p:sldId id="317" r:id="rId8"/>
    <p:sldId id="320" r:id="rId9"/>
    <p:sldId id="319" r:id="rId10"/>
    <p:sldId id="322" r:id="rId11"/>
    <p:sldId id="323" r:id="rId12"/>
    <p:sldId id="294" r:id="rId13"/>
    <p:sldId id="332" r:id="rId14"/>
    <p:sldId id="289" r:id="rId1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6019385-D2D1-8ACE-4F6C-53A5D4663F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10A4D3E-AE9B-5B57-F6E3-8E23922FC2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241E7A5-09B1-A417-936A-B3F08BA26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C81E2B2-D819-36DD-75D7-1421D6FE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99FEE45-5F01-F566-CC80-5438BF4FB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1507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485A37-8938-948F-8DB6-51C737FDE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DD6DE63-8DA1-925F-311E-B5E3EA54F5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57FEAAA-C3EB-37B8-9DEC-960428E44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430F37A-DC2B-92F7-8B0E-7A1529111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CC0B67-9F05-5A61-9D75-4BA60AAB5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6447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89CF9E5-469C-6EE5-82BE-AA0E274768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F1D9B3F-CE6D-EC28-4554-53248FE6B6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EFFE43-A70F-168F-77C6-783300760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545FA84-4432-555F-8FD5-851057654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F6320F-6C79-50E0-7123-A0F156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0247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57C1C39-3E19-97EA-D200-B46497BC5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6662C5D-B7F4-44ED-FCFF-376B121A9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941B48E-C20B-CB89-3D72-F80CC3673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41E4595-67EB-6978-ECE7-687260D40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5BE7808-D74F-4CDE-27E1-A57A8F734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350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114708-E0FD-266B-420D-92836417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1A53F73-1864-0BD0-D468-3CA1914C4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01432B1-C4E6-03B9-9886-877A47C87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6449B7D-7731-01DA-56A9-74EAD881E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D83636E-5AF2-4F82-16C7-CAB3D2E86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2238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88F398-C2F0-8D82-BE56-AF2DBE92F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8A7E596-BAF2-88EF-24BE-E07FE5521A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078BCEB-2F6B-1D98-4498-0F4548E878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9676F94-41FD-242A-F7FE-AFC1AECE1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BA8956A-4496-A92B-19D7-22D3E2613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F7AD814-3143-F037-129D-64365F783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01256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2BF6824-9D6D-A78B-9E83-AD95640F6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280EA37-9260-74FE-068F-906245B960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3E13E0F-5713-4B3C-3A13-F3CDFD267E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DC26E6F-2FF1-F2EF-A64C-3E4F14CC20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0ECF7226-3217-2735-30E0-ECA173BDD4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89D3C1C-E0F9-3D19-8E3F-A75033E90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9C40B9A7-10B9-A02E-8471-12518ED97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03F3B55-7E9F-A9BE-A905-738972D5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0114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EF7761-DF6D-CFDF-2D36-54ED158FE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F3ABAC95-094A-FB9C-18D1-079CE938D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AB9194E-41A8-1A9A-A87E-03FCEC485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AB84297F-DD47-2B94-2520-66DD10985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154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5C32B585-047C-D77F-C38C-AF1FB4D33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78F3C8-FB75-9127-0F15-ADDC3DDA6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5D993AE-7B5F-182B-DE12-FC137FA7B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338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2779E0-F1FC-C2D0-CABB-04E2D5C91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6302E17-7EB8-BDA1-C5A3-592F8EC4CB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0E2BB14-68E6-346A-5865-ED8BD324DB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CDF7B42-3B61-85BA-1B39-379ABED08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EAD1CB5-3FD7-9EA9-BEBA-90A47A287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EA5F3CC-98D9-934D-C363-47E553593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5280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A211A4E-D5B3-E3FF-6B7C-9115F76C3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2FD1E4F-7339-D8B9-F5A6-FA7EB0BA9E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BB6BA8F-8807-1F8D-51CA-9A05E82BAA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431833F-05F4-8D92-5FC6-179B8242E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F471CF5-6B10-309D-3587-4D618620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B6B3A34-D4EA-62F3-EE89-1C8EF942B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1064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9CDB9F2-54DE-2476-C1D1-BF214F220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1480F0-F6EB-F8E5-758B-B505E890D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ABF5BB6-D987-2F71-5706-C9D3B29844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BEFF9A-9B08-45F2-816C-57B207AA6EA9}" type="datetimeFigureOut">
              <a:rPr lang="cs-CZ" smtClean="0"/>
              <a:t>06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2CED7F3-282C-C521-084C-32FD951B57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47FD72-5737-53C8-1335-5A2BDB5BFC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5880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>
            <a:extLst>
              <a:ext uri="{FF2B5EF4-FFF2-40B4-BE49-F238E27FC236}">
                <a16:creationId xmlns:a16="http://schemas.microsoft.com/office/drawing/2014/main" id="{F8446B12-7391-4711-8B31-112A0B896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Zástupný symbol pro obsah 4">
            <a:extLst>
              <a:ext uri="{FF2B5EF4-FFF2-40B4-BE49-F238E27FC236}">
                <a16:creationId xmlns:a16="http://schemas.microsoft.com/office/drawing/2014/main" id="{8F43236C-AB5B-41E3-AAF6-230FC2DB628C}"/>
              </a:ext>
            </a:extLst>
          </p:cNvPr>
          <p:cNvPicPr>
            <a:picLocks noGrp="1"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96075" cy="4334421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CAB97BCA-14BD-2690-F21C-B3CA5E70DA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479" y="5198296"/>
            <a:ext cx="8154955" cy="1400400"/>
          </a:xfrm>
        </p:spPr>
        <p:txBody>
          <a:bodyPr wrap="square" anchor="b">
            <a:noAutofit/>
          </a:bodyPr>
          <a:lstStyle/>
          <a:p>
            <a:r>
              <a:rPr lang="cs-CZ" sz="7200" b="1" dirty="0">
                <a:solidFill>
                  <a:schemeClr val="bg1"/>
                </a:solidFill>
              </a:rPr>
              <a:t>ÚZEMNÍ PLÁNOVÁNÍ A URBANISMUS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AAB6898-F86A-20E9-F1B8-D844ED043C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63226" y="4664818"/>
            <a:ext cx="3222609" cy="1766167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anchor="b">
            <a:normAutofit/>
          </a:bodyPr>
          <a:lstStyle/>
          <a:p>
            <a:br>
              <a:rPr lang="cs-CZ" sz="2000" dirty="0"/>
            </a:br>
            <a:br>
              <a:rPr lang="cs-CZ" sz="2000" dirty="0"/>
            </a:br>
            <a:r>
              <a:rPr lang="cs-CZ" sz="2000" dirty="0"/>
              <a:t>David Gorný</a:t>
            </a:r>
            <a:br>
              <a:rPr lang="cs-CZ" sz="2000" dirty="0"/>
            </a:br>
            <a:r>
              <a:rPr lang="cs-CZ" sz="2000" dirty="0"/>
              <a:t>5. CVIČENÍ</a:t>
            </a:r>
            <a:br>
              <a:rPr lang="cs-CZ" sz="2000" dirty="0"/>
            </a:br>
            <a:r>
              <a:rPr lang="cs-CZ" sz="2000" dirty="0"/>
              <a:t>6.11. 2023</a:t>
            </a:r>
          </a:p>
          <a:p>
            <a:endParaRPr lang="cs-CZ" sz="2000" dirty="0"/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AC0B7807-0C83-4963-821A-69B172722E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528992"/>
            <a:ext cx="12192000" cy="757168"/>
            <a:chOff x="0" y="2959818"/>
            <a:chExt cx="12192000" cy="757168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B027EC7-3252-48A2-A7A4-1741F72E47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1524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: Shape 12">
              <a:extLst>
                <a:ext uri="{FF2B5EF4-FFF2-40B4-BE49-F238E27FC236}">
                  <a16:creationId xmlns:a16="http://schemas.microsoft.com/office/drawing/2014/main" id="{4EBC51E4-7477-4290-BBD0-18AD942C36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blipFill>
              <a:blip r:embed="rId3">
                <a:alphaModFix amt="57000"/>
              </a:blip>
              <a:tile tx="0" ty="0" sx="100000" sy="100000" flip="none" algn="tl"/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9" name="Zástupný symbol pro obsah 4">
            <a:extLst>
              <a:ext uri="{FF2B5EF4-FFF2-40B4-BE49-F238E27FC236}">
                <a16:creationId xmlns:a16="http://schemas.microsoft.com/office/drawing/2014/main" id="{BC00BD02-7854-43B6-A66C-87BACC077EEF}"/>
              </a:ext>
            </a:extLst>
          </p:cNvPr>
          <p:cNvPicPr>
            <a:picLocks noGrp="1"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895" y="0"/>
            <a:ext cx="6526105" cy="433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073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9BB35BC-D5C2-4C8B-A22A-A71E61919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0F43BD15-75C6-4C49-B23A-7ADC41F5CF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51713" y="365125"/>
            <a:ext cx="6475446" cy="605259"/>
          </a:xfrm>
        </p:spPr>
        <p:txBody>
          <a:bodyPr>
            <a:normAutofit fontScale="90000"/>
          </a:bodyPr>
          <a:lstStyle/>
          <a:p>
            <a:pPr algn="ctr"/>
            <a:r>
              <a:rPr lang="cs-CZ" b="1" dirty="0"/>
              <a:t>Karel Teige </a:t>
            </a:r>
            <a:r>
              <a:rPr lang="cs-CZ" dirty="0"/>
              <a:t>(1900–1951) 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FD08E520-0E68-4267-AE17-CCFE0ECCB14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/>
          <a:srcRect t="6098" r="-2" b="-2"/>
          <a:stretch/>
        </p:blipFill>
        <p:spPr>
          <a:xfrm flipH="1">
            <a:off x="0" y="1259633"/>
            <a:ext cx="4525347" cy="5178760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6A459F0-E53F-45D3-A472-3BA9E8CAA595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861249" y="1335509"/>
            <a:ext cx="7240555" cy="5523722"/>
          </a:xfrm>
        </p:spPr>
        <p:txBody>
          <a:bodyPr>
            <a:normAutofit/>
          </a:bodyPr>
          <a:lstStyle/>
          <a:p>
            <a:r>
              <a:rPr lang="cs-CZ" sz="2000" dirty="0"/>
              <a:t>Levicový teoretik umění… dotýkal se architektury, urbanismu, literatury, umění. </a:t>
            </a:r>
          </a:p>
          <a:p>
            <a:r>
              <a:rPr lang="cs-CZ" sz="2000" dirty="0"/>
              <a:t>Přednášel na Bauhaus. </a:t>
            </a:r>
          </a:p>
          <a:p>
            <a:r>
              <a:rPr lang="cs-CZ" sz="2000" dirty="0"/>
              <a:t>Např. Kniha: </a:t>
            </a:r>
            <a:r>
              <a:rPr lang="cs-CZ" sz="2000" b="1" dirty="0"/>
              <a:t>Nejmenší byt</a:t>
            </a:r>
          </a:p>
          <a:p>
            <a:r>
              <a:rPr lang="cs-CZ" sz="2000" dirty="0"/>
              <a:t>Zabývá se vývojem architektury, příčinami a důsledky bytové nouze, vývojem bytu od 19. století po soudobé vzorové výstavy bydlení a moderní racionalizovaný hygienický byt.</a:t>
            </a:r>
          </a:p>
          <a:p>
            <a:r>
              <a:rPr lang="cs-CZ" sz="2000" dirty="0"/>
              <a:t>Stanovení ideálního „nejmenšího bytu“.</a:t>
            </a:r>
          </a:p>
          <a:p>
            <a:r>
              <a:rPr lang="cs-CZ" sz="2000" dirty="0"/>
              <a:t>Rozebírá navrhované modely bytů s obytnou kuchyní, s kuchyňským koutem a bez kuchyně i praktický, prostor šetřící nábytek, atp. </a:t>
            </a:r>
          </a:p>
          <a:p>
            <a:r>
              <a:rPr lang="cs-CZ" sz="2000" dirty="0"/>
              <a:t>Zabývá se také ideální výškou a rozestavěním domů s malými byty, aby bylo zabráněno nešvarům činžovních domů. </a:t>
            </a:r>
          </a:p>
          <a:p>
            <a:r>
              <a:rPr lang="cs-CZ" sz="2000" b="1" dirty="0"/>
              <a:t>Veškerá předcházející fakta jsou v knize oporou pro návrh kolektivního bydlení jako formy pro budoucnost. </a:t>
            </a:r>
          </a:p>
          <a:p>
            <a:endParaRPr lang="cs-CZ" sz="2000" dirty="0"/>
          </a:p>
        </p:txBody>
      </p:sp>
    </p:spTree>
    <p:extLst>
      <p:ext uri="{BB962C8B-B14F-4D97-AF65-F5344CB8AC3E}">
        <p14:creationId xmlns:p14="http://schemas.microsoft.com/office/powerpoint/2010/main" val="4232084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F4C4281-F465-1EB3-2681-234C9784D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cs-CZ" b="1" dirty="0"/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2109789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C2988-15CF-C595-AFEA-81852F351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ÚVODNÍ ČÁST HODIN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C26D398-65A6-4667-E373-EDB467DCA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Diskuze: </a:t>
            </a:r>
            <a:br>
              <a:rPr lang="cs-CZ" dirty="0"/>
            </a:br>
            <a:br>
              <a:rPr lang="cs-CZ" dirty="0"/>
            </a:br>
            <a:r>
              <a:rPr lang="cs-CZ" dirty="0"/>
              <a:t>text od </a:t>
            </a:r>
            <a:r>
              <a:rPr lang="en-GB" dirty="0"/>
              <a:t>Le Corbusiera</a:t>
            </a:r>
            <a:endParaRPr lang="cs-CZ" dirty="0"/>
          </a:p>
          <a:p>
            <a:endParaRPr lang="cs-CZ" dirty="0"/>
          </a:p>
          <a:p>
            <a:r>
              <a:rPr lang="cs-CZ" sz="2000" dirty="0"/>
              <a:t>Co jsou slabé stránky a rizika Le Corbusierových koncepcí? </a:t>
            </a:r>
            <a:br>
              <a:rPr lang="cs-CZ" sz="2000" dirty="0"/>
            </a:br>
            <a:r>
              <a:rPr lang="cs-CZ" sz="2000" i="1" dirty="0"/>
              <a:t>Uveďte příklady konkrétních urbanistických myšlenek, které by podle vás nefungovaly v současných městech, a proč?</a:t>
            </a:r>
            <a:endParaRPr lang="cs-CZ" sz="2000" dirty="0"/>
          </a:p>
          <a:p>
            <a:r>
              <a:rPr lang="cs-CZ" sz="2000" dirty="0"/>
              <a:t>Vidíte v jeho koncepci pozitivní přínosy či pokroková řešení na tu dobu? </a:t>
            </a:r>
            <a:br>
              <a:rPr lang="cs-CZ" sz="2000" dirty="0"/>
            </a:br>
            <a:r>
              <a:rPr lang="cs-CZ" sz="2000" i="1" dirty="0"/>
              <a:t>Uveďte jaké…</a:t>
            </a:r>
            <a:br>
              <a:rPr lang="cs-CZ" sz="2000" i="1" dirty="0"/>
            </a:br>
            <a:r>
              <a:rPr lang="cs-CZ" sz="2000" i="1" dirty="0"/>
              <a:t>Pokud žádné nevidíte, vysvětlete proč?</a:t>
            </a:r>
          </a:p>
          <a:p>
            <a:endParaRPr lang="en-GB" dirty="0"/>
          </a:p>
        </p:txBody>
      </p:sp>
      <p:pic>
        <p:nvPicPr>
          <p:cNvPr id="2050" name="Picture 2" descr="Le Corbusier: ikona modernistické architektury | Insidecor ...">
            <a:extLst>
              <a:ext uri="{FF2B5EF4-FFF2-40B4-BE49-F238E27FC236}">
                <a16:creationId xmlns:a16="http://schemas.microsoft.com/office/drawing/2014/main" id="{AEE67D11-52D7-B396-98A8-E1D4D44BC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787" y="4726754"/>
            <a:ext cx="2843213" cy="2131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9494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C2988-15CF-C595-AFEA-81852F351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/>
              <a:t>DNEŠNÍ TÉMA: </a:t>
            </a:r>
            <a:r>
              <a:rPr lang="cs-CZ" b="1" u="sng" dirty="0"/>
              <a:t>FUNKCIONALISMUS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C26D398-65A6-4667-E373-EDB467DCA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banistický a architektonický směr propagující </a:t>
            </a:r>
            <a:r>
              <a:rPr lang="cs-CZ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účelné řešení staveb 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1) a </a:t>
            </a:r>
            <a:r>
              <a:rPr lang="cs-CZ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ěstského prostoru 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). </a:t>
            </a:r>
          </a:p>
          <a:p>
            <a:r>
              <a:rPr lang="cs-CZ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A následuje FUNKCI. </a:t>
            </a:r>
          </a:p>
          <a:p>
            <a: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ůraz na funkční (provozní) fungování města – estetické a umělecké aspekty upozaďovány, nepodstatné, zbytečné.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zorem byly středověké </a:t>
            </a:r>
            <a:r>
              <a:rPr lang="cs-CZ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áštery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1) a </a:t>
            </a:r>
            <a:r>
              <a:rPr lang="cs-CZ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ředověká města 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2).</a:t>
            </a:r>
            <a:b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ždá část kláštera měla účelný význam. </a:t>
            </a:r>
            <a:b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zmístění aktivit v </a:t>
            </a:r>
            <a: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asickém st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ředověkém městě na základě významu/funkce.</a:t>
            </a:r>
          </a:p>
          <a:p>
            <a: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Ú</a:t>
            </a:r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čelové budovy jednoduchých tvarů. </a:t>
            </a:r>
          </a:p>
          <a:p>
            <a:r>
              <a:rPr lang="cs-CZ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yužívání nových materiálů (např. šamotové cihly, železo nebo beton). </a:t>
            </a:r>
          </a:p>
          <a:p>
            <a:pPr marL="0" indent="0">
              <a:buNone/>
            </a:pPr>
            <a:endParaRPr lang="cs-CZ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 našem území: </a:t>
            </a:r>
            <a:b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 jedna </a:t>
            </a: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 funkcí města =  bydlení</a:t>
            </a:r>
            <a:b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 jak mohou socialistické principy přispět k plnění téhle funkce skrze malometrážní byty</a:t>
            </a:r>
            <a:b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 </a:t>
            </a:r>
            <a:r>
              <a:rPr lang="cs-CZ" sz="1800" b="1" kern="100" dirty="0">
                <a:latin typeface="Calibri" panose="020F0502020204030204" pitchFamily="34" charset="0"/>
                <a:cs typeface="Times New Roman" panose="02020603050405020304" pitchFamily="18" charset="0"/>
              </a:rPr>
              <a:t>spojen spíše se solitérními stavbami než rozsáhlými urbanistickými celky 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2450495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9EA8AA-86BE-4458-AB7B-F1FDBB2F2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Funkcionalistické stavby v Brně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A034409A-6575-4FDD-9347-D53AA1C96348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dirty="0"/>
              <a:t>Například:</a:t>
            </a:r>
            <a:br>
              <a:rPr lang="cs-CZ" sz="2400" dirty="0"/>
            </a:br>
            <a:endParaRPr lang="cs-CZ" sz="2400" dirty="0"/>
          </a:p>
          <a:p>
            <a:r>
              <a:rPr lang="cs-CZ" sz="2000" dirty="0"/>
              <a:t>Brněnské výstaviště</a:t>
            </a:r>
          </a:p>
          <a:p>
            <a:r>
              <a:rPr lang="cs-CZ" sz="2000" dirty="0"/>
              <a:t>Hotel Avion</a:t>
            </a:r>
          </a:p>
          <a:p>
            <a:r>
              <a:rPr lang="cs-CZ" sz="2000" dirty="0"/>
              <a:t>Zemanova kavárna</a:t>
            </a:r>
          </a:p>
          <a:p>
            <a:r>
              <a:rPr lang="cs-CZ" sz="2000" dirty="0"/>
              <a:t>Hassova vila</a:t>
            </a:r>
          </a:p>
          <a:p>
            <a:r>
              <a:rPr lang="cs-CZ" sz="2000" dirty="0"/>
              <a:t>Dětská nemocnice</a:t>
            </a:r>
            <a:br>
              <a:rPr lang="cs-CZ" sz="2000" dirty="0"/>
            </a:br>
            <a:br>
              <a:rPr lang="cs-CZ" sz="2000" dirty="0"/>
            </a:br>
            <a:r>
              <a:rPr lang="cs-CZ" sz="2000" dirty="0"/>
              <a:t>a další…</a:t>
            </a:r>
          </a:p>
          <a:p>
            <a:pPr marL="45720" indent="0">
              <a:buNone/>
            </a:pPr>
            <a:endParaRPr lang="cs-CZ" sz="2400" dirty="0"/>
          </a:p>
          <a:p>
            <a:r>
              <a:rPr lang="cs-CZ" sz="2400" dirty="0"/>
              <a:t>Bohuslav Fuchs, Jindřich Kumpošt…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892DB94-DB93-4439-8426-2ECE444403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062742"/>
            <a:ext cx="5935588" cy="3957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6169BC-E8BA-C510-2DB1-AF2203055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cs-CZ" b="1" dirty="0"/>
              <a:t>BAUHAUS?</a:t>
            </a:r>
          </a:p>
        </p:txBody>
      </p:sp>
    </p:spTree>
    <p:extLst>
      <p:ext uri="{BB962C8B-B14F-4D97-AF65-F5344CB8AC3E}">
        <p14:creationId xmlns:p14="http://schemas.microsoft.com/office/powerpoint/2010/main" val="34888467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31" name="Rectangle 1030">
            <a:extLst>
              <a:ext uri="{FF2B5EF4-FFF2-40B4-BE49-F238E27FC236}">
                <a16:creationId xmlns:a16="http://schemas.microsoft.com/office/drawing/2014/main" id="{45D37F4E-DDB4-456B-97E0-9937730A03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064C2988-15CF-C595-AFEA-81852F351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493" y="238539"/>
            <a:ext cx="11018520" cy="993997"/>
          </a:xfrm>
        </p:spPr>
        <p:txBody>
          <a:bodyPr anchor="b">
            <a:normAutofit/>
          </a:bodyPr>
          <a:lstStyle/>
          <a:p>
            <a:pPr algn="ctr"/>
            <a:r>
              <a:rPr lang="cs-CZ" sz="5400" b="1" u="sng" dirty="0"/>
              <a:t>BAUHAUS</a:t>
            </a:r>
          </a:p>
        </p:txBody>
      </p:sp>
      <p:sp>
        <p:nvSpPr>
          <p:cNvPr id="1033" name="sketchy line">
            <a:extLst>
              <a:ext uri="{FF2B5EF4-FFF2-40B4-BE49-F238E27FC236}">
                <a16:creationId xmlns:a16="http://schemas.microsoft.com/office/drawing/2014/main" id="{B2DD41CD-8F47-4F56-AD12-4E2FF76969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72493" y="1681544"/>
            <a:ext cx="10972800" cy="18288"/>
          </a:xfrm>
          <a:custGeom>
            <a:avLst/>
            <a:gdLst>
              <a:gd name="connsiteX0" fmla="*/ 0 w 10972800"/>
              <a:gd name="connsiteY0" fmla="*/ 0 h 18288"/>
              <a:gd name="connsiteX1" fmla="*/ 356616 w 10972800"/>
              <a:gd name="connsiteY1" fmla="*/ 0 h 18288"/>
              <a:gd name="connsiteX2" fmla="*/ 1042416 w 10972800"/>
              <a:gd name="connsiteY2" fmla="*/ 0 h 18288"/>
              <a:gd name="connsiteX3" fmla="*/ 1947672 w 10972800"/>
              <a:gd name="connsiteY3" fmla="*/ 0 h 18288"/>
              <a:gd name="connsiteX4" fmla="*/ 2633472 w 10972800"/>
              <a:gd name="connsiteY4" fmla="*/ 0 h 18288"/>
              <a:gd name="connsiteX5" fmla="*/ 2990088 w 10972800"/>
              <a:gd name="connsiteY5" fmla="*/ 0 h 18288"/>
              <a:gd name="connsiteX6" fmla="*/ 3456432 w 10972800"/>
              <a:gd name="connsiteY6" fmla="*/ 0 h 18288"/>
              <a:gd name="connsiteX7" fmla="*/ 4361688 w 10972800"/>
              <a:gd name="connsiteY7" fmla="*/ 0 h 18288"/>
              <a:gd name="connsiteX8" fmla="*/ 5266944 w 10972800"/>
              <a:gd name="connsiteY8" fmla="*/ 0 h 18288"/>
              <a:gd name="connsiteX9" fmla="*/ 6172200 w 10972800"/>
              <a:gd name="connsiteY9" fmla="*/ 0 h 18288"/>
              <a:gd name="connsiteX10" fmla="*/ 6528816 w 10972800"/>
              <a:gd name="connsiteY10" fmla="*/ 0 h 18288"/>
              <a:gd name="connsiteX11" fmla="*/ 7214616 w 10972800"/>
              <a:gd name="connsiteY11" fmla="*/ 0 h 18288"/>
              <a:gd name="connsiteX12" fmla="*/ 7790688 w 10972800"/>
              <a:gd name="connsiteY12" fmla="*/ 0 h 18288"/>
              <a:gd name="connsiteX13" fmla="*/ 8147304 w 10972800"/>
              <a:gd name="connsiteY13" fmla="*/ 0 h 18288"/>
              <a:gd name="connsiteX14" fmla="*/ 9052560 w 10972800"/>
              <a:gd name="connsiteY14" fmla="*/ 0 h 18288"/>
              <a:gd name="connsiteX15" fmla="*/ 9409176 w 10972800"/>
              <a:gd name="connsiteY15" fmla="*/ 0 h 18288"/>
              <a:gd name="connsiteX16" fmla="*/ 9765792 w 10972800"/>
              <a:gd name="connsiteY16" fmla="*/ 0 h 18288"/>
              <a:gd name="connsiteX17" fmla="*/ 10341864 w 10972800"/>
              <a:gd name="connsiteY17" fmla="*/ 0 h 18288"/>
              <a:gd name="connsiteX18" fmla="*/ 10972800 w 10972800"/>
              <a:gd name="connsiteY18" fmla="*/ 0 h 18288"/>
              <a:gd name="connsiteX19" fmla="*/ 10972800 w 10972800"/>
              <a:gd name="connsiteY19" fmla="*/ 18288 h 18288"/>
              <a:gd name="connsiteX20" fmla="*/ 10177272 w 10972800"/>
              <a:gd name="connsiteY20" fmla="*/ 18288 h 18288"/>
              <a:gd name="connsiteX21" fmla="*/ 9820656 w 10972800"/>
              <a:gd name="connsiteY21" fmla="*/ 18288 h 18288"/>
              <a:gd name="connsiteX22" fmla="*/ 9464040 w 10972800"/>
              <a:gd name="connsiteY22" fmla="*/ 18288 h 18288"/>
              <a:gd name="connsiteX23" fmla="*/ 8778240 w 10972800"/>
              <a:gd name="connsiteY23" fmla="*/ 18288 h 18288"/>
              <a:gd name="connsiteX24" fmla="*/ 8421624 w 10972800"/>
              <a:gd name="connsiteY24" fmla="*/ 18288 h 18288"/>
              <a:gd name="connsiteX25" fmla="*/ 7735824 w 10972800"/>
              <a:gd name="connsiteY25" fmla="*/ 18288 h 18288"/>
              <a:gd name="connsiteX26" fmla="*/ 6940296 w 10972800"/>
              <a:gd name="connsiteY26" fmla="*/ 18288 h 18288"/>
              <a:gd name="connsiteX27" fmla="*/ 6254496 w 10972800"/>
              <a:gd name="connsiteY27" fmla="*/ 18288 h 18288"/>
              <a:gd name="connsiteX28" fmla="*/ 5458968 w 10972800"/>
              <a:gd name="connsiteY28" fmla="*/ 18288 h 18288"/>
              <a:gd name="connsiteX29" fmla="*/ 4663440 w 10972800"/>
              <a:gd name="connsiteY29" fmla="*/ 18288 h 18288"/>
              <a:gd name="connsiteX30" fmla="*/ 4306824 w 10972800"/>
              <a:gd name="connsiteY30" fmla="*/ 18288 h 18288"/>
              <a:gd name="connsiteX31" fmla="*/ 3840480 w 10972800"/>
              <a:gd name="connsiteY31" fmla="*/ 18288 h 18288"/>
              <a:gd name="connsiteX32" fmla="*/ 3264408 w 10972800"/>
              <a:gd name="connsiteY32" fmla="*/ 18288 h 18288"/>
              <a:gd name="connsiteX33" fmla="*/ 2578608 w 10972800"/>
              <a:gd name="connsiteY33" fmla="*/ 18288 h 18288"/>
              <a:gd name="connsiteX34" fmla="*/ 1673352 w 10972800"/>
              <a:gd name="connsiteY34" fmla="*/ 18288 h 18288"/>
              <a:gd name="connsiteX35" fmla="*/ 877824 w 10972800"/>
              <a:gd name="connsiteY35" fmla="*/ 18288 h 18288"/>
              <a:gd name="connsiteX36" fmla="*/ 0 w 10972800"/>
              <a:gd name="connsiteY36" fmla="*/ 18288 h 18288"/>
              <a:gd name="connsiteX37" fmla="*/ 0 w 10972800"/>
              <a:gd name="connsiteY37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0972800" h="18288" fill="none" extrusionOk="0">
                <a:moveTo>
                  <a:pt x="0" y="0"/>
                </a:moveTo>
                <a:cubicBezTo>
                  <a:pt x="165916" y="-1866"/>
                  <a:pt x="188720" y="13756"/>
                  <a:pt x="356616" y="0"/>
                </a:cubicBezTo>
                <a:cubicBezTo>
                  <a:pt x="524512" y="-13756"/>
                  <a:pt x="734781" y="8922"/>
                  <a:pt x="1042416" y="0"/>
                </a:cubicBezTo>
                <a:cubicBezTo>
                  <a:pt x="1350051" y="-8922"/>
                  <a:pt x="1595982" y="-26315"/>
                  <a:pt x="1947672" y="0"/>
                </a:cubicBezTo>
                <a:cubicBezTo>
                  <a:pt x="2299362" y="26315"/>
                  <a:pt x="2292691" y="-19526"/>
                  <a:pt x="2633472" y="0"/>
                </a:cubicBezTo>
                <a:cubicBezTo>
                  <a:pt x="2974253" y="19526"/>
                  <a:pt x="2857309" y="10773"/>
                  <a:pt x="2990088" y="0"/>
                </a:cubicBezTo>
                <a:cubicBezTo>
                  <a:pt x="3122867" y="-10773"/>
                  <a:pt x="3359343" y="7194"/>
                  <a:pt x="3456432" y="0"/>
                </a:cubicBezTo>
                <a:cubicBezTo>
                  <a:pt x="3553521" y="-7194"/>
                  <a:pt x="4136258" y="5108"/>
                  <a:pt x="4361688" y="0"/>
                </a:cubicBezTo>
                <a:cubicBezTo>
                  <a:pt x="4587118" y="-5108"/>
                  <a:pt x="4992424" y="-42958"/>
                  <a:pt x="5266944" y="0"/>
                </a:cubicBezTo>
                <a:cubicBezTo>
                  <a:pt x="5541464" y="42958"/>
                  <a:pt x="5882966" y="-3430"/>
                  <a:pt x="6172200" y="0"/>
                </a:cubicBezTo>
                <a:cubicBezTo>
                  <a:pt x="6461434" y="3430"/>
                  <a:pt x="6432127" y="6688"/>
                  <a:pt x="6528816" y="0"/>
                </a:cubicBezTo>
                <a:cubicBezTo>
                  <a:pt x="6625505" y="-6688"/>
                  <a:pt x="6916805" y="-436"/>
                  <a:pt x="7214616" y="0"/>
                </a:cubicBezTo>
                <a:cubicBezTo>
                  <a:pt x="7512427" y="436"/>
                  <a:pt x="7626159" y="-6909"/>
                  <a:pt x="7790688" y="0"/>
                </a:cubicBezTo>
                <a:cubicBezTo>
                  <a:pt x="7955217" y="6909"/>
                  <a:pt x="8048891" y="15307"/>
                  <a:pt x="8147304" y="0"/>
                </a:cubicBezTo>
                <a:cubicBezTo>
                  <a:pt x="8245717" y="-15307"/>
                  <a:pt x="8645618" y="-11734"/>
                  <a:pt x="9052560" y="0"/>
                </a:cubicBezTo>
                <a:cubicBezTo>
                  <a:pt x="9459502" y="11734"/>
                  <a:pt x="9320584" y="8388"/>
                  <a:pt x="9409176" y="0"/>
                </a:cubicBezTo>
                <a:cubicBezTo>
                  <a:pt x="9497768" y="-8388"/>
                  <a:pt x="9644192" y="8379"/>
                  <a:pt x="9765792" y="0"/>
                </a:cubicBezTo>
                <a:cubicBezTo>
                  <a:pt x="9887392" y="-8379"/>
                  <a:pt x="10105220" y="-12663"/>
                  <a:pt x="10341864" y="0"/>
                </a:cubicBezTo>
                <a:cubicBezTo>
                  <a:pt x="10578508" y="12663"/>
                  <a:pt x="10773103" y="-5786"/>
                  <a:pt x="10972800" y="0"/>
                </a:cubicBezTo>
                <a:cubicBezTo>
                  <a:pt x="10972146" y="8818"/>
                  <a:pt x="10972240" y="13823"/>
                  <a:pt x="10972800" y="18288"/>
                </a:cubicBezTo>
                <a:cubicBezTo>
                  <a:pt x="10588778" y="31598"/>
                  <a:pt x="10543381" y="-12698"/>
                  <a:pt x="10177272" y="18288"/>
                </a:cubicBezTo>
                <a:cubicBezTo>
                  <a:pt x="9811163" y="49274"/>
                  <a:pt x="9996817" y="25662"/>
                  <a:pt x="9820656" y="18288"/>
                </a:cubicBezTo>
                <a:cubicBezTo>
                  <a:pt x="9644495" y="10914"/>
                  <a:pt x="9607007" y="31631"/>
                  <a:pt x="9464040" y="18288"/>
                </a:cubicBezTo>
                <a:cubicBezTo>
                  <a:pt x="9321073" y="4945"/>
                  <a:pt x="9114189" y="28940"/>
                  <a:pt x="8778240" y="18288"/>
                </a:cubicBezTo>
                <a:cubicBezTo>
                  <a:pt x="8442291" y="7636"/>
                  <a:pt x="8594763" y="987"/>
                  <a:pt x="8421624" y="18288"/>
                </a:cubicBezTo>
                <a:cubicBezTo>
                  <a:pt x="8248485" y="35589"/>
                  <a:pt x="7929515" y="37573"/>
                  <a:pt x="7735824" y="18288"/>
                </a:cubicBezTo>
                <a:cubicBezTo>
                  <a:pt x="7542133" y="-997"/>
                  <a:pt x="7252504" y="33858"/>
                  <a:pt x="6940296" y="18288"/>
                </a:cubicBezTo>
                <a:cubicBezTo>
                  <a:pt x="6628088" y="2718"/>
                  <a:pt x="6528503" y="48389"/>
                  <a:pt x="6254496" y="18288"/>
                </a:cubicBezTo>
                <a:cubicBezTo>
                  <a:pt x="5980489" y="-11813"/>
                  <a:pt x="5695784" y="-3740"/>
                  <a:pt x="5458968" y="18288"/>
                </a:cubicBezTo>
                <a:cubicBezTo>
                  <a:pt x="5222152" y="40316"/>
                  <a:pt x="5010751" y="19095"/>
                  <a:pt x="4663440" y="18288"/>
                </a:cubicBezTo>
                <a:cubicBezTo>
                  <a:pt x="4316129" y="17481"/>
                  <a:pt x="4425552" y="1606"/>
                  <a:pt x="4306824" y="18288"/>
                </a:cubicBezTo>
                <a:cubicBezTo>
                  <a:pt x="4188096" y="34970"/>
                  <a:pt x="3941535" y="7481"/>
                  <a:pt x="3840480" y="18288"/>
                </a:cubicBezTo>
                <a:cubicBezTo>
                  <a:pt x="3739425" y="29095"/>
                  <a:pt x="3402388" y="17641"/>
                  <a:pt x="3264408" y="18288"/>
                </a:cubicBezTo>
                <a:cubicBezTo>
                  <a:pt x="3126428" y="18935"/>
                  <a:pt x="2776779" y="9983"/>
                  <a:pt x="2578608" y="18288"/>
                </a:cubicBezTo>
                <a:cubicBezTo>
                  <a:pt x="2380437" y="26593"/>
                  <a:pt x="1909468" y="25818"/>
                  <a:pt x="1673352" y="18288"/>
                </a:cubicBezTo>
                <a:cubicBezTo>
                  <a:pt x="1437236" y="10758"/>
                  <a:pt x="1131180" y="49884"/>
                  <a:pt x="877824" y="18288"/>
                </a:cubicBezTo>
                <a:cubicBezTo>
                  <a:pt x="624468" y="-13308"/>
                  <a:pt x="206753" y="2195"/>
                  <a:pt x="0" y="18288"/>
                </a:cubicBezTo>
                <a:cubicBezTo>
                  <a:pt x="313" y="10654"/>
                  <a:pt x="-263" y="4056"/>
                  <a:pt x="0" y="0"/>
                </a:cubicBezTo>
                <a:close/>
              </a:path>
              <a:path w="10972800" h="18288" stroke="0" extrusionOk="0">
                <a:moveTo>
                  <a:pt x="0" y="0"/>
                </a:moveTo>
                <a:cubicBezTo>
                  <a:pt x="164017" y="-17675"/>
                  <a:pt x="309425" y="9913"/>
                  <a:pt x="466344" y="0"/>
                </a:cubicBezTo>
                <a:cubicBezTo>
                  <a:pt x="623263" y="-9913"/>
                  <a:pt x="659300" y="-14524"/>
                  <a:pt x="822960" y="0"/>
                </a:cubicBezTo>
                <a:cubicBezTo>
                  <a:pt x="986620" y="14524"/>
                  <a:pt x="1105222" y="-16481"/>
                  <a:pt x="1289304" y="0"/>
                </a:cubicBezTo>
                <a:cubicBezTo>
                  <a:pt x="1473386" y="16481"/>
                  <a:pt x="1693223" y="26161"/>
                  <a:pt x="1975104" y="0"/>
                </a:cubicBezTo>
                <a:cubicBezTo>
                  <a:pt x="2256985" y="-26161"/>
                  <a:pt x="2435781" y="23061"/>
                  <a:pt x="2770632" y="0"/>
                </a:cubicBezTo>
                <a:cubicBezTo>
                  <a:pt x="3105483" y="-23061"/>
                  <a:pt x="3247479" y="-44011"/>
                  <a:pt x="3675888" y="0"/>
                </a:cubicBezTo>
                <a:cubicBezTo>
                  <a:pt x="4104297" y="44011"/>
                  <a:pt x="4280918" y="4017"/>
                  <a:pt x="4581144" y="0"/>
                </a:cubicBezTo>
                <a:cubicBezTo>
                  <a:pt x="4881370" y="-4017"/>
                  <a:pt x="5021699" y="-11889"/>
                  <a:pt x="5157216" y="0"/>
                </a:cubicBezTo>
                <a:cubicBezTo>
                  <a:pt x="5292733" y="11889"/>
                  <a:pt x="5603398" y="-17698"/>
                  <a:pt x="5952744" y="0"/>
                </a:cubicBezTo>
                <a:cubicBezTo>
                  <a:pt x="6302090" y="17698"/>
                  <a:pt x="6353093" y="-11909"/>
                  <a:pt x="6638544" y="0"/>
                </a:cubicBezTo>
                <a:cubicBezTo>
                  <a:pt x="6923995" y="11909"/>
                  <a:pt x="7053404" y="21630"/>
                  <a:pt x="7214616" y="0"/>
                </a:cubicBezTo>
                <a:cubicBezTo>
                  <a:pt x="7375828" y="-21630"/>
                  <a:pt x="7837963" y="3886"/>
                  <a:pt x="8010144" y="0"/>
                </a:cubicBezTo>
                <a:cubicBezTo>
                  <a:pt x="8182325" y="-3886"/>
                  <a:pt x="8224183" y="16009"/>
                  <a:pt x="8366760" y="0"/>
                </a:cubicBezTo>
                <a:cubicBezTo>
                  <a:pt x="8509337" y="-16009"/>
                  <a:pt x="8687920" y="-5720"/>
                  <a:pt x="8942832" y="0"/>
                </a:cubicBezTo>
                <a:cubicBezTo>
                  <a:pt x="9197744" y="5720"/>
                  <a:pt x="9368437" y="20479"/>
                  <a:pt x="9628632" y="0"/>
                </a:cubicBezTo>
                <a:cubicBezTo>
                  <a:pt x="9888827" y="-20479"/>
                  <a:pt x="10560858" y="-20746"/>
                  <a:pt x="10972800" y="0"/>
                </a:cubicBezTo>
                <a:cubicBezTo>
                  <a:pt x="10972186" y="5722"/>
                  <a:pt x="10972980" y="12495"/>
                  <a:pt x="10972800" y="18288"/>
                </a:cubicBezTo>
                <a:cubicBezTo>
                  <a:pt x="10786146" y="12536"/>
                  <a:pt x="10623717" y="14033"/>
                  <a:pt x="10506456" y="18288"/>
                </a:cubicBezTo>
                <a:cubicBezTo>
                  <a:pt x="10389195" y="22543"/>
                  <a:pt x="10296178" y="20107"/>
                  <a:pt x="10149840" y="18288"/>
                </a:cubicBezTo>
                <a:cubicBezTo>
                  <a:pt x="10003502" y="16469"/>
                  <a:pt x="9767530" y="28891"/>
                  <a:pt x="9464040" y="18288"/>
                </a:cubicBezTo>
                <a:cubicBezTo>
                  <a:pt x="9160550" y="7685"/>
                  <a:pt x="9229050" y="2659"/>
                  <a:pt x="8997696" y="18288"/>
                </a:cubicBezTo>
                <a:cubicBezTo>
                  <a:pt x="8766342" y="33917"/>
                  <a:pt x="8340136" y="34864"/>
                  <a:pt x="8092440" y="18288"/>
                </a:cubicBezTo>
                <a:cubicBezTo>
                  <a:pt x="7844744" y="1712"/>
                  <a:pt x="7863720" y="27405"/>
                  <a:pt x="7735824" y="18288"/>
                </a:cubicBezTo>
                <a:cubicBezTo>
                  <a:pt x="7607928" y="9171"/>
                  <a:pt x="7323619" y="461"/>
                  <a:pt x="7050024" y="18288"/>
                </a:cubicBezTo>
                <a:cubicBezTo>
                  <a:pt x="6776429" y="36115"/>
                  <a:pt x="6787899" y="28206"/>
                  <a:pt x="6693408" y="18288"/>
                </a:cubicBezTo>
                <a:cubicBezTo>
                  <a:pt x="6598917" y="8370"/>
                  <a:pt x="6395231" y="19114"/>
                  <a:pt x="6227064" y="18288"/>
                </a:cubicBezTo>
                <a:cubicBezTo>
                  <a:pt x="6058897" y="17462"/>
                  <a:pt x="5618582" y="1091"/>
                  <a:pt x="5431536" y="18288"/>
                </a:cubicBezTo>
                <a:cubicBezTo>
                  <a:pt x="5244490" y="35485"/>
                  <a:pt x="4729797" y="-9650"/>
                  <a:pt x="4526280" y="18288"/>
                </a:cubicBezTo>
                <a:cubicBezTo>
                  <a:pt x="4322763" y="46226"/>
                  <a:pt x="4216797" y="756"/>
                  <a:pt x="4059936" y="18288"/>
                </a:cubicBezTo>
                <a:cubicBezTo>
                  <a:pt x="3903075" y="35820"/>
                  <a:pt x="3537912" y="42098"/>
                  <a:pt x="3374136" y="18288"/>
                </a:cubicBezTo>
                <a:cubicBezTo>
                  <a:pt x="3210360" y="-5522"/>
                  <a:pt x="3126842" y="39135"/>
                  <a:pt x="2907792" y="18288"/>
                </a:cubicBezTo>
                <a:cubicBezTo>
                  <a:pt x="2688742" y="-2559"/>
                  <a:pt x="2490436" y="34100"/>
                  <a:pt x="2112264" y="18288"/>
                </a:cubicBezTo>
                <a:cubicBezTo>
                  <a:pt x="1734092" y="2476"/>
                  <a:pt x="1744622" y="-7274"/>
                  <a:pt x="1536192" y="18288"/>
                </a:cubicBezTo>
                <a:cubicBezTo>
                  <a:pt x="1327762" y="43850"/>
                  <a:pt x="1189025" y="6435"/>
                  <a:pt x="1069848" y="18288"/>
                </a:cubicBezTo>
                <a:cubicBezTo>
                  <a:pt x="950671" y="30141"/>
                  <a:pt x="858345" y="33684"/>
                  <a:pt x="713232" y="18288"/>
                </a:cubicBezTo>
                <a:cubicBezTo>
                  <a:pt x="568119" y="2892"/>
                  <a:pt x="250292" y="5410"/>
                  <a:pt x="0" y="18288"/>
                </a:cubicBezTo>
                <a:cubicBezTo>
                  <a:pt x="465" y="13062"/>
                  <a:pt x="-894" y="9029"/>
                  <a:pt x="0" y="0"/>
                </a:cubicBezTo>
                <a:close/>
              </a:path>
            </a:pathLst>
          </a:custGeom>
          <a:solidFill>
            <a:schemeClr val="accent2">
              <a:alpha val="75000"/>
            </a:schemeClr>
          </a:solidFill>
          <a:ln w="44450" cap="rnd">
            <a:solidFill>
              <a:schemeClr val="accent2">
                <a:alpha val="75000"/>
              </a:scheme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C26D398-65A6-4667-E373-EDB467DCA0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493" y="2071316"/>
            <a:ext cx="6713552" cy="4119172"/>
          </a:xfrm>
        </p:spPr>
        <p:txBody>
          <a:bodyPr anchor="t">
            <a:normAutofit/>
          </a:bodyPr>
          <a:lstStyle/>
          <a:p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ložena v roce 1919 ve Výmaru. </a:t>
            </a:r>
          </a:p>
          <a:p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ýznamná urbanistická škola. </a:t>
            </a:r>
          </a:p>
          <a:p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lavní představitelé: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lter Gropius</a:t>
            </a: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Ernst May, …… , Ludwig Mies van der Rohe.</a:t>
            </a:r>
          </a:p>
          <a:p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rezentace </a:t>
            </a: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kcionalistický přístupů </a:t>
            </a:r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 projektování městských budov. </a:t>
            </a:r>
          </a:p>
          <a:p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azování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ůmyslového pojetí výstavby: </a:t>
            </a:r>
            <a:b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nažili se do výstavby města přenést standardizaci</a:t>
            </a:r>
            <a:b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dnotlivé budovy měl obsahovat řadu standardizov</a:t>
            </a:r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ých</a:t>
            </a: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vků</a:t>
            </a:r>
            <a:b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ílem: zefektivnění, zlevnění procesu výstavby </a:t>
            </a:r>
            <a:endParaRPr lang="cs-CZ" sz="2000" b="1" dirty="0"/>
          </a:p>
        </p:txBody>
      </p:sp>
      <p:pic>
        <p:nvPicPr>
          <p:cNvPr id="1026" name="Picture 2" descr="Walter Gropius | Bauhaus Founder, German-American Architect | Britannica">
            <a:extLst>
              <a:ext uri="{FF2B5EF4-FFF2-40B4-BE49-F238E27FC236}">
                <a16:creationId xmlns:a16="http://schemas.microsoft.com/office/drawing/2014/main" id="{6B70331D-42E5-C5BF-4B9E-808FEF2A9A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27" r="17825"/>
          <a:stretch/>
        </p:blipFill>
        <p:spPr bwMode="auto">
          <a:xfrm>
            <a:off x="7675658" y="2093976"/>
            <a:ext cx="3941064" cy="4096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8218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8DBC05B-CFB8-DD78-68AF-D03B61D76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dirty="0"/>
              <a:t>CIAM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40FC0A7-77B7-E844-3085-01806967A1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400" dirty="0"/>
              <a:t>O co jde?</a:t>
            </a:r>
          </a:p>
          <a:p>
            <a:endParaRPr lang="cs-CZ" sz="2400" dirty="0"/>
          </a:p>
          <a:p>
            <a:r>
              <a:rPr lang="cs-CZ" sz="2400" dirty="0"/>
              <a:t>Jaké 3 základní funkce by měl urbanismus sledovat? </a:t>
            </a:r>
          </a:p>
          <a:p>
            <a:endParaRPr lang="cs-CZ" sz="2400" dirty="0"/>
          </a:p>
          <a:p>
            <a:r>
              <a:rPr lang="cs-CZ" sz="2400" dirty="0"/>
              <a:t>O jakém časovém období se bavíme?</a:t>
            </a:r>
          </a:p>
          <a:p>
            <a:endParaRPr lang="cs-CZ" sz="2400" dirty="0"/>
          </a:p>
          <a:p>
            <a:r>
              <a:rPr lang="cs-CZ" sz="2400" dirty="0"/>
              <a:t>Jakou spojitost se CIAM má Athénská charta? O co jde?</a:t>
            </a:r>
          </a:p>
        </p:txBody>
      </p:sp>
    </p:spTree>
    <p:extLst>
      <p:ext uri="{BB962C8B-B14F-4D97-AF65-F5344CB8AC3E}">
        <p14:creationId xmlns:p14="http://schemas.microsoft.com/office/powerpoint/2010/main" val="2211100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4332AB4-7729-9BB7-51D9-00677D279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Výsledky Athénské chart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F7E9256-0BCE-6EF3-DF98-3371F339F4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rnuje 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ákladní myšlenky z konaného kon</a:t>
            </a:r>
            <a:r>
              <a:rPr lang="cs-CZ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esu</a:t>
            </a:r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mítá způsoby výstavby průmyslových měst 19.století -&gt; ohrazuje se především vůči mísení jednotlivých funkcí v tradičních průmyslových městech. </a:t>
            </a:r>
          </a:p>
          <a:p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ísení průmyslové funkce (továrny) a bydlení (v blízkosti továren) -&gt; problémy, negativní dopady na obyvatelstvo. </a:t>
            </a:r>
          </a:p>
          <a:p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mítá podobu „klasické polyfunkční ulice“ a přiklání se k </a:t>
            </a:r>
            <a:r>
              <a:rPr lang="cs-CZ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kční separaci, vytváření segregovaných funkčních zón. </a:t>
            </a:r>
          </a:p>
          <a:p>
            <a:endParaRPr lang="cs-CZ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cs-CZ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ze Athénské charty se nicméně uplatnily při obnově evropských měst po 2. světové válce (vytvářením rozsáhlých obytných zón). </a:t>
            </a:r>
          </a:p>
          <a:p>
            <a:r>
              <a:rPr lang="cs-CZ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řeba zavádění legislativy (dle prohlášení CIAM by měla být roztříštěná držba pozemků daná trhem a spekulacemi nahrazena pozemkovou ekonomií a účelným prostorovým uspořádáním). </a:t>
            </a:r>
            <a:b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94716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9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58A2C66-DF31-EB61-B1EC-831832148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118" y="410546"/>
            <a:ext cx="10950239" cy="865803"/>
          </a:xfrm>
        </p:spPr>
        <p:txBody>
          <a:bodyPr>
            <a:normAutofit/>
          </a:bodyPr>
          <a:lstStyle/>
          <a:p>
            <a:pPr algn="ctr"/>
            <a:r>
              <a:rPr lang="cs-CZ" sz="4000" b="1" u="sng" dirty="0"/>
              <a:t>Cvičení č. 4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F85945B-01CB-1259-F635-94C9AF0EE8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116" y="1931437"/>
            <a:ext cx="11252718" cy="3872203"/>
          </a:xfrm>
        </p:spPr>
        <p:txBody>
          <a:bodyPr>
            <a:noAutofit/>
          </a:bodyPr>
          <a:lstStyle/>
          <a:p>
            <a:r>
              <a:rPr lang="cs-CZ" sz="2000" dirty="0"/>
              <a:t>Přečtěte si text </a:t>
            </a:r>
            <a:r>
              <a:rPr lang="cs-CZ" sz="2000" b="1" dirty="0"/>
              <a:t>od </a:t>
            </a:r>
            <a:r>
              <a:rPr lang="cs-CZ" sz="2400" b="1" dirty="0"/>
              <a:t>Karla Teigeho -  Minimální byt a kolektivní dům. </a:t>
            </a:r>
          </a:p>
          <a:p>
            <a:endParaRPr lang="cs-CZ" sz="2000" b="1" dirty="0"/>
          </a:p>
          <a:p>
            <a:r>
              <a:rPr lang="cs-CZ" sz="2000" dirty="0"/>
              <a:t>Text najdete ve studijních materiálech IS.</a:t>
            </a:r>
          </a:p>
          <a:p>
            <a:endParaRPr lang="cs-CZ" sz="2000" dirty="0"/>
          </a:p>
          <a:p>
            <a:r>
              <a:rPr lang="cs-CZ" sz="2000" b="1" dirty="0"/>
              <a:t>Udělejte si názor na teze a myšlenky prezentované v textu.</a:t>
            </a:r>
          </a:p>
          <a:p>
            <a:endParaRPr lang="cs-CZ" sz="2000" dirty="0"/>
          </a:p>
          <a:p>
            <a:pPr marL="0" indent="0">
              <a:buNone/>
            </a:pPr>
            <a:r>
              <a:rPr lang="cs-CZ" sz="2000" dirty="0"/>
              <a:t>    Myšlenky vztahující se k tomuto textu odevzdat v podobě textového dokumentu o rozsahu 1-2 A4 textu</a:t>
            </a:r>
            <a:r>
              <a:rPr lang="cs-CZ" sz="2000" b="1" dirty="0"/>
              <a:t>. </a:t>
            </a:r>
          </a:p>
          <a:p>
            <a:pPr marL="0" indent="0">
              <a:buNone/>
            </a:pPr>
            <a:endParaRPr lang="cs-CZ" sz="2000" dirty="0"/>
          </a:p>
          <a:p>
            <a:pPr algn="ctr"/>
            <a:r>
              <a:rPr lang="cs-CZ" sz="2000" b="1" dirty="0"/>
              <a:t>DEADLINE: 13. 11. 2023 5:59 </a:t>
            </a:r>
          </a:p>
        </p:txBody>
      </p:sp>
    </p:spTree>
    <p:extLst>
      <p:ext uri="{BB962C8B-B14F-4D97-AF65-F5344CB8AC3E}">
        <p14:creationId xmlns:p14="http://schemas.microsoft.com/office/powerpoint/2010/main" val="200913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E287AF66F725F488780A43562BAF94A" ma:contentTypeVersion="10" ma:contentTypeDescription="Vytvoří nový dokument" ma:contentTypeScope="" ma:versionID="137abefaaf3957ba0f3698cd9721dd70">
  <xsd:schema xmlns:xsd="http://www.w3.org/2001/XMLSchema" xmlns:xs="http://www.w3.org/2001/XMLSchema" xmlns:p="http://schemas.microsoft.com/office/2006/metadata/properties" xmlns:ns3="2b2ac763-2a82-42d3-894b-8c19e4f57a2a" xmlns:ns4="45fb4870-e8c9-4f9e-95f4-cc79c406e0f1" targetNamespace="http://schemas.microsoft.com/office/2006/metadata/properties" ma:root="true" ma:fieldsID="3817fa790c39be2a5a68303585f60200" ns3:_="" ns4:_="">
    <xsd:import namespace="2b2ac763-2a82-42d3-894b-8c19e4f57a2a"/>
    <xsd:import namespace="45fb4870-e8c9-4f9e-95f4-cc79c406e0f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GenerationTime" minOccurs="0"/>
                <xsd:element ref="ns4:MediaServiceEventHashCode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ac763-2a82-42d3-894b-8c19e4f57a2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odnota hash upozornění na sdílení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fb4870-e8c9-4f9e-95f4-cc79c406e0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5fb4870-e8c9-4f9e-95f4-cc79c406e0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A0BC71-2ECF-48AB-843D-7A78EB6035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ac763-2a82-42d3-894b-8c19e4f57a2a"/>
    <ds:schemaRef ds:uri="45fb4870-e8c9-4f9e-95f4-cc79c406e0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944E47F-66AF-4A9D-BBDF-3AB9ED0F9A9F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45fb4870-e8c9-4f9e-95f4-cc79c406e0f1"/>
    <ds:schemaRef ds:uri="http://schemas.microsoft.com/office/infopath/2007/PartnerControls"/>
    <ds:schemaRef ds:uri="2b2ac763-2a82-42d3-894b-8c19e4f57a2a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5300AB4-CEC1-4263-B5E5-02445065404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064</TotalTime>
  <Words>646</Words>
  <Application>Microsoft Office PowerPoint</Application>
  <PresentationFormat>Širokoúhlá obrazovka</PresentationFormat>
  <Paragraphs>69</Paragraphs>
  <Slides>11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1</vt:i4>
      </vt:variant>
    </vt:vector>
  </HeadingPairs>
  <TitlesOfParts>
    <vt:vector size="15" baseType="lpstr">
      <vt:lpstr>Arial</vt:lpstr>
      <vt:lpstr>Calibri</vt:lpstr>
      <vt:lpstr>Calibri Light</vt:lpstr>
      <vt:lpstr>Motiv Office</vt:lpstr>
      <vt:lpstr>ÚZEMNÍ PLÁNOVÁNÍ A URBANISMUS</vt:lpstr>
      <vt:lpstr>ÚVODNÍ ČÁST HODINY</vt:lpstr>
      <vt:lpstr>DNEŠNÍ TÉMA: FUNKCIONALISMUS</vt:lpstr>
      <vt:lpstr>Funkcionalistické stavby v Brně</vt:lpstr>
      <vt:lpstr>BAUHAUS?</vt:lpstr>
      <vt:lpstr>BAUHAUS</vt:lpstr>
      <vt:lpstr>CIAM</vt:lpstr>
      <vt:lpstr>Výsledky Athénské charty</vt:lpstr>
      <vt:lpstr>Cvičení č. 4</vt:lpstr>
      <vt:lpstr>Karel Teige (1900–1951) 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avid Gorný</dc:creator>
  <cp:lastModifiedBy>David Gorný</cp:lastModifiedBy>
  <cp:revision>23</cp:revision>
  <dcterms:created xsi:type="dcterms:W3CDTF">2023-09-25T06:18:52Z</dcterms:created>
  <dcterms:modified xsi:type="dcterms:W3CDTF">2023-11-06T12:5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287AF66F725F488780A43562BAF94A</vt:lpwstr>
  </property>
</Properties>
</file>